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1"/>
    <p:sldMasterId id="2147485273" r:id="rId2"/>
  </p:sldMasterIdLst>
  <p:notesMasterIdLst>
    <p:notesMasterId r:id="rId4"/>
  </p:notesMasterIdLst>
  <p:handoutMasterIdLst>
    <p:handoutMasterId r:id="rId5"/>
  </p:handoutMasterIdLst>
  <p:sldIdLst>
    <p:sldId id="304" r:id="rId3"/>
  </p:sldIdLst>
  <p:sldSz cx="12192000" cy="6858000"/>
  <p:notesSz cx="6950075" cy="9236075"/>
  <p:custShowLst>
    <p:custShow name="Format Guide Workshop" id="0">
      <p:sldLst/>
    </p:custShow>
  </p:custShowLst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2 Function Town Hall" id="{27235A50-C162-4B59-A9D0-D5A27A821591}">
          <p14:sldIdLst>
            <p14:sldId id="30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2532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8" autoAdjust="0"/>
    <p:restoredTop sz="96323" autoAdjust="0"/>
  </p:normalViewPr>
  <p:slideViewPr>
    <p:cSldViewPr snapToGrid="0">
      <p:cViewPr varScale="1">
        <p:scale>
          <a:sx n="111" d="100"/>
          <a:sy n="111" d="100"/>
        </p:scale>
        <p:origin x="390" y="96"/>
      </p:cViewPr>
      <p:guideLst>
        <p:guide orient="horz" pos="2160"/>
        <p:guide pos="3840"/>
        <p:guide orient="horz" pos="10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/14/2026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1/14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5" Type="http://schemas.openxmlformats.org/officeDocument/2006/relationships/image" Target="../media/image3.jpeg"/><Relationship Id="rId4" Type="http://schemas.openxmlformats.org/officeDocument/2006/relationships/image" Target="../media/image10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6" Type="http://schemas.openxmlformats.org/officeDocument/2006/relationships/image" Target="../media/image3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9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0.xml"/><Relationship Id="rId5" Type="http://schemas.openxmlformats.org/officeDocument/2006/relationships/image" Target="../media/image3.jpeg"/><Relationship Id="rId4" Type="http://schemas.openxmlformats.org/officeDocument/2006/relationships/image" Target="../media/image10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5" Type="http://schemas.openxmlformats.org/officeDocument/2006/relationships/image" Target="../media/image2.png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5" Type="http://schemas.openxmlformats.org/officeDocument/2006/relationships/image" Target="../media/image2.png"/><Relationship Id="rId4" Type="http://schemas.openxmlformats.org/officeDocument/2006/relationships/image" Target="../media/image1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6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3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9.xml"/><Relationship Id="rId5" Type="http://schemas.openxmlformats.org/officeDocument/2006/relationships/image" Target="../media/image3.jpeg"/><Relationship Id="rId4" Type="http://schemas.openxmlformats.org/officeDocument/2006/relationships/image" Target="../media/image1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0.xml"/><Relationship Id="rId5" Type="http://schemas.openxmlformats.org/officeDocument/2006/relationships/image" Target="../media/image3.jpeg"/><Relationship Id="rId4" Type="http://schemas.openxmlformats.org/officeDocument/2006/relationships/image" Target="../media/image1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1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2.xml"/><Relationship Id="rId6" Type="http://schemas.openxmlformats.org/officeDocument/2006/relationships/image" Target="../media/image3.jpeg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2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6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F03F0E-DA2A-1742-A301-7AB3F8CBE4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2785" y="1122363"/>
            <a:ext cx="9829800" cy="2387600"/>
          </a:xfrm>
        </p:spPr>
        <p:txBody>
          <a:bodyPr vert="horz" anchor="b">
            <a:noAutofit/>
          </a:bodyPr>
          <a:lstStyle>
            <a:lvl1pPr algn="l">
              <a:defRPr sz="60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BC5995-AE11-CD43-8338-242FA473F5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2785" y="3602038"/>
            <a:ext cx="9829800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6992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, color background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45098" y="1060337"/>
            <a:ext cx="5660445" cy="4947291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10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6142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00E127D-C332-4301-BB3A-3DF6652A1A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CAF604C-1E3D-4441-970A-41BA45181E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C08339-D193-AC48-A4D4-C7EC7A17AFA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46113" y="1911924"/>
            <a:ext cx="3325523" cy="33255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0C9E7B59-DED8-0C45-9C41-FEFCAD7E0B2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315466" y="1911924"/>
            <a:ext cx="3325523" cy="33255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AA062D3F-3C36-5645-8BC3-027E805A3F5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936235" y="1911924"/>
            <a:ext cx="3325523" cy="33255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86AECEF5-F5A8-3C4F-AA65-8C32731BC44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112" y="5482041"/>
            <a:ext cx="3325523" cy="35026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D5CA3570-522F-424E-9C09-3DD52A6E1EA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9857" y="5482041"/>
            <a:ext cx="3325523" cy="35026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AF519E7A-8134-A44B-8E3D-633CD4F212E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3603" y="5482041"/>
            <a:ext cx="3325523" cy="35026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49840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D30A8A9-0774-4926-9E00-2B6423AF1B7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014" y="1931823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05A5295-8E0B-4FD7-8D31-EB168AEFA2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45937" y="1931823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065AA433-2659-4BD2-AAC3-041C41AB0D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25860" y="1939726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6E97B1FE-2C3A-44FC-BACB-9122A56854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05783" y="1939726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8BD12AA-9AAB-4E57-BD09-6BC2D5419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6014" y="4675996"/>
            <a:ext cx="2512054" cy="328610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24B1BC8E-896B-4C53-BC2A-9D5D8E53DF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49715" y="4675995"/>
            <a:ext cx="2508276" cy="328610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CACBBB06-48F6-48CE-A885-C6FE80663B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33416" y="4675993"/>
            <a:ext cx="2512054" cy="328611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9E7C8F7-9913-4581-8A2C-07E4E41FC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605782" y="4675993"/>
            <a:ext cx="2512053" cy="328612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00E127D-C332-4301-BB3A-3DF6652A1A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DE9B9F7-0841-0E48-9405-E036EAE52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18852680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D30A8A9-0774-4926-9E00-2B6423AF1B7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014" y="1931823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05A5295-8E0B-4FD7-8D31-EB168AEFA2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759801" y="1931823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065AA433-2659-4BD2-AAC3-041C41AB0D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588" y="1939726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6E97B1FE-2C3A-44FC-BACB-9122A56854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47375" y="1939726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8BD12AA-9AAB-4E57-BD09-6BC2D5419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6014" y="4095479"/>
            <a:ext cx="1972517" cy="328610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24B1BC8E-896B-4C53-BC2A-9D5D8E53DF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9801" y="4095479"/>
            <a:ext cx="1972517" cy="328610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CACBBB06-48F6-48CE-A885-C6FE80663B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47630" y="4095479"/>
            <a:ext cx="1972517" cy="328611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9E7C8F7-9913-4581-8A2C-07E4E41FC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47375" y="4095479"/>
            <a:ext cx="1972517" cy="328612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00E127D-C332-4301-BB3A-3DF6652A1A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D0623B2C-B509-3E44-BCCB-E793ED1CF9D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341340" y="1939726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9F6C4EBB-A3F3-E44C-9624-D41A7507D2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34990" y="4095479"/>
            <a:ext cx="1972517" cy="328612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FCB9D4B-7E3C-AC40-88F6-295DD150F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1391403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00E127D-C332-4301-BB3A-3DF6652A1A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11D7C6E-9DB3-E94B-BA96-1A00162C542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55638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id="{C448102E-5687-E942-B786-6D992F1537F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345369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E274B30C-6F4B-EC41-B38C-DDFFC50C198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21245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6436B19F-B573-F94A-9F71-240CA084E38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722550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378859D8-1C16-D140-B82E-F93D66FC540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423855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D9345EBF-8B9C-BD49-83E8-7F41919BF0F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9125160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777549E1-3FD3-4549-B510-1456A68937C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55638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57A8AE42-6B0C-5D40-AB35-9023F551701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345369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3" name="Picture Placeholder 4">
            <a:extLst>
              <a:ext uri="{FF2B5EF4-FFF2-40B4-BE49-F238E27FC236}">
                <a16:creationId xmlns:a16="http://schemas.microsoft.com/office/drawing/2014/main" id="{A8AFD527-E006-3641-875D-07E65CD5C6E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21245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4" name="Picture Placeholder 4">
            <a:extLst>
              <a:ext uri="{FF2B5EF4-FFF2-40B4-BE49-F238E27FC236}">
                <a16:creationId xmlns:a16="http://schemas.microsoft.com/office/drawing/2014/main" id="{13CCBA1F-CDAB-DF43-8D73-270D0D5B2B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5722550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5" name="Picture Placeholder 4">
            <a:extLst>
              <a:ext uri="{FF2B5EF4-FFF2-40B4-BE49-F238E27FC236}">
                <a16:creationId xmlns:a16="http://schemas.microsoft.com/office/drawing/2014/main" id="{9CC62533-6CF6-8044-BDCC-F798FBB4869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7423855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75145602-0003-D247-8D73-DE825D90E797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125160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ED0D40B8-287F-D24C-A116-5003937A01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8653" y="3262229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9E3059A-03F0-2547-B35A-951A9126FE0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48911" y="3262229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1826A437-161A-CE4F-85E4-47F1613CBC9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911458" y="3262229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5298E89C-F132-DB49-9B61-37285AB70BC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29425" y="3262229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CE1C7532-BCD0-A643-8982-E385D95022D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333536" y="3262229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286496F5-A42D-F842-87CB-8166F93490D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51502" y="3262229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65FDFEE4-D75F-444D-A35B-31302C9A650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58653" y="5465102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237ECFA5-2B1B-2C44-98FF-80D209CC54B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48911" y="5465102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45" name="Text Placeholder 33">
            <a:extLst>
              <a:ext uri="{FF2B5EF4-FFF2-40B4-BE49-F238E27FC236}">
                <a16:creationId xmlns:a16="http://schemas.microsoft.com/office/drawing/2014/main" id="{C5771D15-1418-6443-B27E-16BDA607CA2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11458" y="5465102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47" name="Text Placeholder 33">
            <a:extLst>
              <a:ext uri="{FF2B5EF4-FFF2-40B4-BE49-F238E27FC236}">
                <a16:creationId xmlns:a16="http://schemas.microsoft.com/office/drawing/2014/main" id="{DEDEBCA8-0193-4F42-B2AC-C1A55920DB0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629425" y="5465102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55" name="Text Placeholder 33">
            <a:extLst>
              <a:ext uri="{FF2B5EF4-FFF2-40B4-BE49-F238E27FC236}">
                <a16:creationId xmlns:a16="http://schemas.microsoft.com/office/drawing/2014/main" id="{C6E7782F-6775-2249-997A-FD5F2FFCB61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333536" y="5465102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56" name="Text Placeholder 33">
            <a:extLst>
              <a:ext uri="{FF2B5EF4-FFF2-40B4-BE49-F238E27FC236}">
                <a16:creationId xmlns:a16="http://schemas.microsoft.com/office/drawing/2014/main" id="{93987E05-FF03-B64D-8A94-D5064E43FFC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51502" y="5465102"/>
            <a:ext cx="1627076" cy="457283"/>
          </a:xfrm>
        </p:spPr>
        <p:txBody>
          <a:bodyPr>
            <a:noAutofit/>
          </a:bodyPr>
          <a:lstStyle/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76D9182-FAD1-D14E-BBD4-14F6A7D5B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8629039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ndering or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3ACC38A-4BDF-473C-86BD-481BFE2864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F4AE323-65C0-4527-9E41-1357AB08C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1176E9-B186-9E4B-B2A3-11E3944B2C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355296270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228938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E6BA14-34B0-A94C-887F-C3B37E33F6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856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1906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2174" y="6415"/>
            <a:ext cx="6559826" cy="684517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8390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, color background 2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2174" y="0"/>
            <a:ext cx="6559826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10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913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79B935F-FE01-364A-B366-DFBF717119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80669" y="903288"/>
            <a:ext cx="6424612" cy="482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5DBD326-5D90-614A-B568-E282E56575D6}"/>
              </a:ext>
            </a:extLst>
          </p:cNvPr>
          <p:cNvGrpSpPr/>
          <p:nvPr userDrawn="1"/>
        </p:nvGrpSpPr>
        <p:grpSpPr>
          <a:xfrm>
            <a:off x="8695805" y="1340629"/>
            <a:ext cx="268921" cy="268921"/>
            <a:chOff x="8695805" y="1340629"/>
            <a:chExt cx="268921" cy="268921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AFD7A32-F053-6D4B-8C80-BB7B6C001C0B}"/>
                </a:ext>
              </a:extLst>
            </p:cNvPr>
            <p:cNvSpPr/>
            <p:nvPr userDrawn="1"/>
          </p:nvSpPr>
          <p:spPr>
            <a:xfrm>
              <a:off x="8695805" y="134062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4FA1D64-DD87-914C-AF35-79E9E62DC699}"/>
                </a:ext>
              </a:extLst>
            </p:cNvPr>
            <p:cNvSpPr txBox="1"/>
            <p:nvPr userDrawn="1"/>
          </p:nvSpPr>
          <p:spPr>
            <a:xfrm>
              <a:off x="8695805" y="134062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1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2B69109-BD7D-9944-ACCC-DCE3483060BF}"/>
              </a:ext>
            </a:extLst>
          </p:cNvPr>
          <p:cNvGrpSpPr/>
          <p:nvPr userDrawn="1"/>
        </p:nvGrpSpPr>
        <p:grpSpPr>
          <a:xfrm>
            <a:off x="8695805" y="1767349"/>
            <a:ext cx="268921" cy="268921"/>
            <a:chOff x="8695805" y="1767349"/>
            <a:chExt cx="268921" cy="268921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AA3D762-394B-A24A-8D76-94D3D5D87D45}"/>
                </a:ext>
              </a:extLst>
            </p:cNvPr>
            <p:cNvSpPr/>
            <p:nvPr userDrawn="1"/>
          </p:nvSpPr>
          <p:spPr>
            <a:xfrm>
              <a:off x="8695805" y="176734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D7E3DB6-6376-9144-AA0B-245959637855}"/>
                </a:ext>
              </a:extLst>
            </p:cNvPr>
            <p:cNvSpPr txBox="1"/>
            <p:nvPr userDrawn="1"/>
          </p:nvSpPr>
          <p:spPr>
            <a:xfrm>
              <a:off x="8695805" y="176734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2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78B0BDC-1C8B-C94E-8B3E-57CFFE19BF5F}"/>
              </a:ext>
            </a:extLst>
          </p:cNvPr>
          <p:cNvGrpSpPr/>
          <p:nvPr userDrawn="1"/>
        </p:nvGrpSpPr>
        <p:grpSpPr>
          <a:xfrm>
            <a:off x="8695805" y="2201689"/>
            <a:ext cx="268921" cy="268921"/>
            <a:chOff x="8695805" y="2201689"/>
            <a:chExt cx="268921" cy="268921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5B312B3-FB9A-354B-86C1-E4531EB5A8B1}"/>
                </a:ext>
              </a:extLst>
            </p:cNvPr>
            <p:cNvSpPr/>
            <p:nvPr userDrawn="1"/>
          </p:nvSpPr>
          <p:spPr>
            <a:xfrm>
              <a:off x="8695805" y="220168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733272F-B3F8-4B4B-B8A6-F0136DEEFF6E}"/>
                </a:ext>
              </a:extLst>
            </p:cNvPr>
            <p:cNvSpPr txBox="1"/>
            <p:nvPr userDrawn="1"/>
          </p:nvSpPr>
          <p:spPr>
            <a:xfrm>
              <a:off x="8695805" y="220168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3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9E74B17-97A2-8749-939F-992BFAEF570A}"/>
              </a:ext>
            </a:extLst>
          </p:cNvPr>
          <p:cNvGrpSpPr/>
          <p:nvPr userDrawn="1"/>
        </p:nvGrpSpPr>
        <p:grpSpPr>
          <a:xfrm>
            <a:off x="8695805" y="2628409"/>
            <a:ext cx="268921" cy="268921"/>
            <a:chOff x="8695805" y="2628409"/>
            <a:chExt cx="268921" cy="268921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A681509-4540-8547-B604-208E311FD75E}"/>
                </a:ext>
              </a:extLst>
            </p:cNvPr>
            <p:cNvSpPr/>
            <p:nvPr userDrawn="1"/>
          </p:nvSpPr>
          <p:spPr>
            <a:xfrm>
              <a:off x="8695805" y="262840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32A4CFF-CDC5-434A-BDE5-599293E5C2C5}"/>
                </a:ext>
              </a:extLst>
            </p:cNvPr>
            <p:cNvSpPr txBox="1"/>
            <p:nvPr userDrawn="1"/>
          </p:nvSpPr>
          <p:spPr>
            <a:xfrm>
              <a:off x="8695805" y="262840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4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3147422-0AFB-254E-99CC-C527FDA6239F}"/>
              </a:ext>
            </a:extLst>
          </p:cNvPr>
          <p:cNvGrpSpPr/>
          <p:nvPr userDrawn="1"/>
        </p:nvGrpSpPr>
        <p:grpSpPr>
          <a:xfrm>
            <a:off x="8695805" y="3062749"/>
            <a:ext cx="268921" cy="268921"/>
            <a:chOff x="8695805" y="3062749"/>
            <a:chExt cx="268921" cy="268921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1F43F44-CDA4-C44C-B6C9-BB45AB96323C}"/>
                </a:ext>
              </a:extLst>
            </p:cNvPr>
            <p:cNvSpPr/>
            <p:nvPr userDrawn="1"/>
          </p:nvSpPr>
          <p:spPr>
            <a:xfrm>
              <a:off x="8695805" y="306274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6947140-B5C3-B944-907D-7A1AFFAC4EC8}"/>
                </a:ext>
              </a:extLst>
            </p:cNvPr>
            <p:cNvSpPr txBox="1"/>
            <p:nvPr userDrawn="1"/>
          </p:nvSpPr>
          <p:spPr>
            <a:xfrm>
              <a:off x="8695805" y="306274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5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8137C13-0F5E-2A40-A294-5DB9A529812A}"/>
              </a:ext>
            </a:extLst>
          </p:cNvPr>
          <p:cNvGrpSpPr/>
          <p:nvPr userDrawn="1"/>
        </p:nvGrpSpPr>
        <p:grpSpPr>
          <a:xfrm>
            <a:off x="8695805" y="3480920"/>
            <a:ext cx="268921" cy="268921"/>
            <a:chOff x="8695805" y="3480920"/>
            <a:chExt cx="268921" cy="268921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9FA62F5-FFBE-4244-A4B9-9CED2FD069DA}"/>
                </a:ext>
              </a:extLst>
            </p:cNvPr>
            <p:cNvSpPr/>
            <p:nvPr userDrawn="1"/>
          </p:nvSpPr>
          <p:spPr>
            <a:xfrm>
              <a:off x="8695805" y="3480920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8C17BD9-39F9-BB4B-A704-9A7DFA9A3B34}"/>
                </a:ext>
              </a:extLst>
            </p:cNvPr>
            <p:cNvSpPr txBox="1"/>
            <p:nvPr userDrawn="1"/>
          </p:nvSpPr>
          <p:spPr>
            <a:xfrm>
              <a:off x="8695805" y="3480920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6</a:t>
              </a: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1F8DC62E-06CF-1342-89F7-CBAE8B5D57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37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1303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CAF604C-1E3D-4441-970A-41BA45181E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C08339-D193-AC48-A4D4-C7EC7A17AFA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46113" y="1911924"/>
            <a:ext cx="3325523" cy="33255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0C9E7B59-DED8-0C45-9C41-FEFCAD7E0B2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315466" y="1911924"/>
            <a:ext cx="3325523" cy="33255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AA062D3F-3C36-5645-8BC3-027E805A3F5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936235" y="1911924"/>
            <a:ext cx="3325523" cy="33255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86AECEF5-F5A8-3C4F-AA65-8C32731BC44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112" y="5482041"/>
            <a:ext cx="3325523" cy="35026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D5CA3570-522F-424E-9C09-3DD52A6E1EA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9857" y="5482041"/>
            <a:ext cx="3325523" cy="35026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AF519E7A-8134-A44B-8E3D-633CD4F212E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3603" y="5482041"/>
            <a:ext cx="3325523" cy="35026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pic>
        <p:nvPicPr>
          <p:cNvPr id="13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08588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D30A8A9-0774-4926-9E00-2B6423AF1B7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014" y="1931823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05A5295-8E0B-4FD7-8D31-EB168AEFA2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45937" y="1931823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065AA433-2659-4BD2-AAC3-041C41AB0D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25860" y="1939726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6E97B1FE-2C3A-44FC-BACB-9122A56854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05783" y="1939726"/>
            <a:ext cx="2512054" cy="251205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8BD12AA-9AAB-4E57-BD09-6BC2D5419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6014" y="4675996"/>
            <a:ext cx="2512054" cy="328610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24B1BC8E-896B-4C53-BC2A-9D5D8E53DF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49715" y="4675995"/>
            <a:ext cx="2508276" cy="328610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CACBBB06-48F6-48CE-A885-C6FE80663B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33416" y="4675993"/>
            <a:ext cx="2512054" cy="328611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9E7C8F7-9913-4581-8A2C-07E4E41FC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605782" y="4675993"/>
            <a:ext cx="2512053" cy="328612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DE9B9F7-0841-0E48-9405-E036EAE52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16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0392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D30A8A9-0774-4926-9E00-2B6423AF1B7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014" y="1931823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05A5295-8E0B-4FD7-8D31-EB168AEFA2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759801" y="1931823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065AA433-2659-4BD2-AAC3-041C41AB0D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588" y="1939726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6E97B1FE-2C3A-44FC-BACB-9122A56854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47375" y="1939726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8BD12AA-9AAB-4E57-BD09-6BC2D5419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6014" y="4095479"/>
            <a:ext cx="1972517" cy="328610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24B1BC8E-896B-4C53-BC2A-9D5D8E53DF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9801" y="4095479"/>
            <a:ext cx="1972517" cy="328610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CACBBB06-48F6-48CE-A885-C6FE80663B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47630" y="4095479"/>
            <a:ext cx="1972517" cy="328611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9E7C8F7-9913-4581-8A2C-07E4E41FC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47375" y="4095479"/>
            <a:ext cx="1972517" cy="328612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D0623B2C-B509-3E44-BCCB-E793ED1CF9D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341340" y="1939726"/>
            <a:ext cx="1972517" cy="197251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9F6C4EBB-A3F3-E44C-9624-D41A7507D2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34990" y="4095479"/>
            <a:ext cx="1972517" cy="328612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FCB9D4B-7E3C-AC40-88F6-295DD150F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2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37125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humbn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11D7C6E-9DB3-E94B-BA96-1A00162C542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55638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id="{C448102E-5687-E942-B786-6D992F1537F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345369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E274B30C-6F4B-EC41-B38C-DDFFC50C198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21245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6436B19F-B573-F94A-9F71-240CA084E38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722550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378859D8-1C16-D140-B82E-F93D66FC540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423855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D9345EBF-8B9C-BD49-83E8-7F41919BF0F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9125160" y="1670050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777549E1-3FD3-4549-B510-1456A68937C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55638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57A8AE42-6B0C-5D40-AB35-9023F551701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345369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3" name="Picture Placeholder 4">
            <a:extLst>
              <a:ext uri="{FF2B5EF4-FFF2-40B4-BE49-F238E27FC236}">
                <a16:creationId xmlns:a16="http://schemas.microsoft.com/office/drawing/2014/main" id="{A8AFD527-E006-3641-875D-07E65CD5C6E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21245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4" name="Picture Placeholder 4">
            <a:extLst>
              <a:ext uri="{FF2B5EF4-FFF2-40B4-BE49-F238E27FC236}">
                <a16:creationId xmlns:a16="http://schemas.microsoft.com/office/drawing/2014/main" id="{13CCBA1F-CDAB-DF43-8D73-270D0D5B2B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5722550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5" name="Picture Placeholder 4">
            <a:extLst>
              <a:ext uri="{FF2B5EF4-FFF2-40B4-BE49-F238E27FC236}">
                <a16:creationId xmlns:a16="http://schemas.microsoft.com/office/drawing/2014/main" id="{9CC62533-6CF6-8044-BDCC-F798FBB4869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7423855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75145602-0003-D247-8D73-DE825D90E797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125160" y="3857665"/>
            <a:ext cx="1479550" cy="146843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ED0D40B8-287F-D24C-A116-5003937A01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8653" y="3262229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9E3059A-03F0-2547-B35A-951A9126FE0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48911" y="3262229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1826A437-161A-CE4F-85E4-47F1613CBC9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911458" y="3262229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5298E89C-F132-DB49-9B61-37285AB70BC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29425" y="3262229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CE1C7532-BCD0-A643-8982-E385D95022D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333536" y="3262229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286496F5-A42D-F842-87CB-8166F93490D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51502" y="3262229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65FDFEE4-D75F-444D-A35B-31302C9A650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58653" y="5465102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237ECFA5-2B1B-2C44-98FF-80D209CC54B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48911" y="5465102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45" name="Text Placeholder 33">
            <a:extLst>
              <a:ext uri="{FF2B5EF4-FFF2-40B4-BE49-F238E27FC236}">
                <a16:creationId xmlns:a16="http://schemas.microsoft.com/office/drawing/2014/main" id="{C5771D15-1418-6443-B27E-16BDA607CA2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11458" y="5465102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47" name="Text Placeholder 33">
            <a:extLst>
              <a:ext uri="{FF2B5EF4-FFF2-40B4-BE49-F238E27FC236}">
                <a16:creationId xmlns:a16="http://schemas.microsoft.com/office/drawing/2014/main" id="{DEDEBCA8-0193-4F42-B2AC-C1A55920DB0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629425" y="5465102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55" name="Text Placeholder 33">
            <a:extLst>
              <a:ext uri="{FF2B5EF4-FFF2-40B4-BE49-F238E27FC236}">
                <a16:creationId xmlns:a16="http://schemas.microsoft.com/office/drawing/2014/main" id="{C6E7782F-6775-2249-997A-FD5F2FFCB61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333536" y="5465102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56" name="Text Placeholder 33">
            <a:extLst>
              <a:ext uri="{FF2B5EF4-FFF2-40B4-BE49-F238E27FC236}">
                <a16:creationId xmlns:a16="http://schemas.microsoft.com/office/drawing/2014/main" id="{93987E05-FF03-B64D-8A94-D5064E43FFC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51502" y="5465102"/>
            <a:ext cx="1627076" cy="457283"/>
          </a:xfrm>
        </p:spPr>
        <p:txBody>
          <a:bodyPr>
            <a:noAutofit/>
          </a:bodyPr>
          <a:lstStyle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</a:lstStyle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76D9182-FAD1-D14E-BBD4-14F6A7D5B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32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00355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ndering or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3ACC38A-4BDF-473C-86BD-481BFE2864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F4AE323-65C0-4527-9E41-1357AB08C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1176E9-B186-9E4B-B2A3-11E3944B2C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929204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0785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2168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tart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13690A-FDDD-4B85-8BD2-506D52CFA4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563734"/>
            <a:ext cx="12192000" cy="863659"/>
          </a:xfrm>
        </p:spPr>
        <p:txBody>
          <a:bodyPr anchor="b">
            <a:noAutofit/>
          </a:bodyPr>
          <a:lstStyle>
            <a:lvl1pPr algn="ctr">
              <a:defRPr sz="48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2B9A5F1-4DE7-E94A-8694-015E945A93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36068" y="3547005"/>
            <a:ext cx="6519862" cy="65246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optional subhead</a:t>
            </a:r>
          </a:p>
        </p:txBody>
      </p:sp>
      <p:pic>
        <p:nvPicPr>
          <p:cNvPr id="7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3542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63620" y="2518699"/>
            <a:ext cx="3464763" cy="1820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29329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810" y="622800"/>
            <a:ext cx="10824988" cy="886494"/>
          </a:xfrm>
        </p:spPr>
        <p:txBody>
          <a:bodyPr lIns="0" tIns="45720" rIns="0" bIns="45720" anchor="t"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8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096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810" y="2085628"/>
            <a:ext cx="10824988" cy="4089131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810" y="622800"/>
            <a:ext cx="10824988" cy="886494"/>
          </a:xfrm>
        </p:spPr>
        <p:txBody>
          <a:bodyPr lIns="0" tIns="45720" rIns="0" bIns="45720" anchor="t"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120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28811" y="1544274"/>
            <a:ext cx="3553589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45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28810" y="2668041"/>
            <a:ext cx="10824988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28811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31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28810" y="3826800"/>
            <a:ext cx="10824988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28811" y="3680016"/>
            <a:ext cx="11666391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9434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28811" y="2681103"/>
            <a:ext cx="322907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7197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8811" y="622800"/>
            <a:ext cx="6357989" cy="914400"/>
          </a:xfrm>
        </p:spPr>
        <p:txBody>
          <a:bodyPr>
            <a:normAutofit/>
          </a:bodyPr>
          <a:lstStyle>
            <a:lvl1pPr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6131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28811" y="2681103"/>
            <a:ext cx="322907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2396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401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28811" y="1785600"/>
            <a:ext cx="4489589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5317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py Slid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0591" y="2033828"/>
            <a:ext cx="8030817" cy="2666693"/>
          </a:xfrm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defRPr b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copy</a:t>
            </a:r>
          </a:p>
        </p:txBody>
      </p:sp>
      <p:pic>
        <p:nvPicPr>
          <p:cNvPr id="8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74217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78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28811" y="1804650"/>
            <a:ext cx="634874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5725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528811" y="2764203"/>
            <a:ext cx="2579827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8924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28811" y="2764203"/>
            <a:ext cx="2579827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7" name="TextBox 16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930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28811" y="1785600"/>
            <a:ext cx="416342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8387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28811" y="1785600"/>
            <a:ext cx="416342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TextBox 17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275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8811" y="622800"/>
            <a:ext cx="4774835" cy="914400"/>
          </a:xfrm>
        </p:spPr>
        <p:txBody>
          <a:bodyPr>
            <a:normAutofit/>
          </a:bodyPr>
          <a:lstStyle>
            <a:lvl1pPr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2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5820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7" name="TextBox 16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8811" y="622800"/>
            <a:ext cx="4774835" cy="914400"/>
          </a:xfrm>
        </p:spPr>
        <p:txBody>
          <a:bodyPr>
            <a:normAutofit/>
          </a:bodyPr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2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17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8811" y="622800"/>
            <a:ext cx="6357989" cy="914400"/>
          </a:xfrm>
        </p:spPr>
        <p:txBody>
          <a:bodyPr>
            <a:normAutofit/>
          </a:bodyPr>
          <a:lstStyle>
            <a:lvl1pPr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119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8811" y="622800"/>
            <a:ext cx="6357989" cy="914400"/>
          </a:xfrm>
        </p:spPr>
        <p:txBody>
          <a:bodyPr>
            <a:normAutofit/>
          </a:bodyPr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1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45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28810" y="3826333"/>
            <a:ext cx="1082498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8971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F4C467CC-2DCD-034B-AC61-8E172B02B86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791200" y="579438"/>
            <a:ext cx="5883275" cy="5808662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03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28811" y="625475"/>
            <a:ext cx="932688" cy="9326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28810" y="3826333"/>
            <a:ext cx="1082498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908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525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F737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640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810" y="622800"/>
            <a:ext cx="10824988" cy="886494"/>
          </a:xfrm>
        </p:spPr>
        <p:txBody>
          <a:bodyPr lIns="0" tIns="45720" rIns="0" bIns="45720" anchor="t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052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4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17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831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981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63620" y="2518699"/>
            <a:ext cx="3464763" cy="1820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629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396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6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1F03F0E-DA2A-1742-A301-7AB3F8CBE4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2785" y="1122363"/>
            <a:ext cx="9829800" cy="2387600"/>
          </a:xfrm>
        </p:spPr>
        <p:txBody>
          <a:bodyPr anchor="b">
            <a:noAutofit/>
          </a:bodyPr>
          <a:lstStyle>
            <a:lvl1pPr algn="l">
              <a:defRPr sz="60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2BC5995-AE11-CD43-8338-242FA473F5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2785" y="3602038"/>
            <a:ext cx="9829800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411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36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810" y="622800"/>
            <a:ext cx="10824988" cy="886494"/>
          </a:xfrm>
        </p:spPr>
        <p:txBody>
          <a:bodyPr lIns="0" tIns="45720" rIns="0" bIns="45720" anchor="t"/>
          <a:lstStyle>
            <a:lvl1pPr>
              <a:defRPr sz="2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8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357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606E0-870A-E444-87C2-54AA4481F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8811" y="1685665"/>
            <a:ext cx="10824989" cy="435133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A163C9-BB03-124A-AA91-B533C25C27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8BFDF9-2304-7249-8C8B-DF2076603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878320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79709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287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810" y="2085628"/>
            <a:ext cx="10824988" cy="407297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810" y="622800"/>
            <a:ext cx="10824988" cy="886494"/>
          </a:xfrm>
        </p:spPr>
        <p:txBody>
          <a:bodyPr lIns="0" tIns="45720" rIns="0" bIns="45720" anchor="t"/>
          <a:lstStyle>
            <a:lvl1pPr>
              <a:defRPr sz="2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982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28811" y="2158987"/>
            <a:ext cx="3845189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28811" y="1227048"/>
            <a:ext cx="3845189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517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28810" y="2668041"/>
            <a:ext cx="1082498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528811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697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28810" y="3826800"/>
            <a:ext cx="10824988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28811" y="3680016"/>
            <a:ext cx="11659776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955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28811" y="2681103"/>
            <a:ext cx="322907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5573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811" y="622800"/>
            <a:ext cx="6377718" cy="9144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7001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811" y="622800"/>
            <a:ext cx="8202773" cy="9144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30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28811" y="2681103"/>
            <a:ext cx="322907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1293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28811" y="1785600"/>
            <a:ext cx="4489589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1870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28811" y="1785600"/>
            <a:ext cx="6349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3779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Only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606E0-870A-E444-87C2-54AA4481F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8811" y="1685665"/>
            <a:ext cx="10824989" cy="4351338"/>
          </a:xfrm>
        </p:spPr>
        <p:txBody>
          <a:bodyPr>
            <a:noAutofit/>
          </a:bodyPr>
          <a:lstStyle>
            <a:lvl1pPr marL="285750" indent="-285750">
              <a:buFont typeface="System Font Regular"/>
              <a:buChar char="—"/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A163C9-BB03-124A-AA91-B533C25C27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8BFDF9-2304-7249-8C8B-DF2076603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878320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93778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528811" y="2764203"/>
            <a:ext cx="2579827" cy="1314311"/>
          </a:xfrm>
        </p:spPr>
        <p:txBody>
          <a:bodyPr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821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55639" y="2764203"/>
            <a:ext cx="2452999" cy="1314311"/>
          </a:xfrm>
        </p:spPr>
        <p:txBody>
          <a:bodyPr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4" name="TextBox 13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335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28811" y="1785600"/>
            <a:ext cx="416342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4448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28811" y="1785600"/>
            <a:ext cx="416342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6" name="TextBox 15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186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811" y="622800"/>
            <a:ext cx="4849011" cy="9144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21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7" name="TextBox 16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811" y="622800"/>
            <a:ext cx="4849011" cy="91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1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74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811" y="622800"/>
            <a:ext cx="6355685" cy="91440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3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5824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6F7378"/>
              </a:gs>
              <a:gs pos="100000">
                <a:srgbClr val="25252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extBox 13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811" y="622800"/>
            <a:ext cx="6355685" cy="91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13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332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28810" y="3826333"/>
            <a:ext cx="1082498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224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28811" y="625475"/>
            <a:ext cx="932688" cy="9326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28810" y="3826333"/>
            <a:ext cx="1082498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8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23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606E0-870A-E444-87C2-54AA4481F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5745" y="2258296"/>
            <a:ext cx="3325091" cy="3712986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A163C9-BB03-124A-AA91-B533C25C27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8BFDF9-2304-7249-8C8B-DF2076603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878320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57111C8-4AED-3A4C-A55F-1800386F4A36}"/>
              </a:ext>
            </a:extLst>
          </p:cNvPr>
          <p:cNvCxnSpPr>
            <a:cxnSpLocks/>
          </p:cNvCxnSpPr>
          <p:nvPr userDrawn="1"/>
        </p:nvCxnSpPr>
        <p:spPr>
          <a:xfrm>
            <a:off x="595745" y="2128436"/>
            <a:ext cx="33250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14041C-4BA9-7149-BFDE-7C66CA87557C}"/>
              </a:ext>
            </a:extLst>
          </p:cNvPr>
          <p:cNvCxnSpPr>
            <a:cxnSpLocks/>
          </p:cNvCxnSpPr>
          <p:nvPr userDrawn="1"/>
        </p:nvCxnSpPr>
        <p:spPr>
          <a:xfrm>
            <a:off x="4308764" y="2128436"/>
            <a:ext cx="33250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91838-83AE-5D45-BAD3-E0436E8559C2}"/>
              </a:ext>
            </a:extLst>
          </p:cNvPr>
          <p:cNvCxnSpPr>
            <a:cxnSpLocks/>
          </p:cNvCxnSpPr>
          <p:nvPr userDrawn="1"/>
        </p:nvCxnSpPr>
        <p:spPr>
          <a:xfrm>
            <a:off x="8021781" y="2128436"/>
            <a:ext cx="33250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F70ABCF-87D4-7B42-8693-5754EF3515B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8037" y="1678225"/>
            <a:ext cx="3352800" cy="423694"/>
          </a:xfrm>
        </p:spPr>
        <p:txBody>
          <a:bodyPr>
            <a:noAutofit/>
          </a:bodyPr>
          <a:lstStyle>
            <a:lvl1pPr>
              <a:defRPr b="1"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7311CF-F389-DC4D-A44D-D6CA3947FDF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36473" y="2258296"/>
            <a:ext cx="3325091" cy="3712986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7F329A7-3502-9E4B-8E61-821F6B6E5422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8765" y="1678225"/>
            <a:ext cx="3352800" cy="423694"/>
          </a:xfrm>
        </p:spPr>
        <p:txBody>
          <a:bodyPr>
            <a:noAutofit/>
          </a:bodyPr>
          <a:lstStyle>
            <a:lvl1pPr>
              <a:defRPr b="1"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F057C33-7EC2-E646-9C66-E07D23F00A7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049491" y="2258296"/>
            <a:ext cx="3325091" cy="3712986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06DFD7A-B573-0740-B61E-13AC31B72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021783" y="1678225"/>
            <a:ext cx="3352800" cy="423694"/>
          </a:xfrm>
        </p:spPr>
        <p:txBody>
          <a:bodyPr>
            <a:noAutofit/>
          </a:bodyPr>
          <a:lstStyle>
            <a:lvl1pPr>
              <a:defRPr b="1"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pic>
        <p:nvPicPr>
          <p:cNvPr id="18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47956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525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F737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150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07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810" y="622800"/>
            <a:ext cx="10824988" cy="886494"/>
          </a:xfrm>
        </p:spPr>
        <p:txBody>
          <a:bodyPr lIns="0" tIns="45720" rIns="0" bIns="45720" anchor="t">
            <a:norm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358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55639" y="2703641"/>
            <a:ext cx="2793761" cy="15103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582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3061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4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93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9543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63620" y="2518699"/>
            <a:ext cx="3464763" cy="1820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610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252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616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2684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714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3366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606E0-870A-E444-87C2-54AA4481F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5745" y="2258296"/>
            <a:ext cx="5274968" cy="3712986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A163C9-BB03-124A-AA91-B533C25C27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8BFDF9-2304-7249-8C8B-DF2076603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878320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57111C8-4AED-3A4C-A55F-1800386F4A36}"/>
              </a:ext>
            </a:extLst>
          </p:cNvPr>
          <p:cNvCxnSpPr>
            <a:cxnSpLocks/>
          </p:cNvCxnSpPr>
          <p:nvPr userDrawn="1"/>
        </p:nvCxnSpPr>
        <p:spPr>
          <a:xfrm>
            <a:off x="595745" y="2128436"/>
            <a:ext cx="5273662" cy="0"/>
          </a:xfrm>
          <a:prstGeom prst="line">
            <a:avLst/>
          </a:prstGeom>
          <a:ln>
            <a:solidFill>
              <a:srgbClr val="2025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91838-83AE-5D45-BAD3-E0436E8559C2}"/>
              </a:ext>
            </a:extLst>
          </p:cNvPr>
          <p:cNvCxnSpPr>
            <a:cxnSpLocks/>
          </p:cNvCxnSpPr>
          <p:nvPr userDrawn="1"/>
        </p:nvCxnSpPr>
        <p:spPr>
          <a:xfrm>
            <a:off x="6322662" y="2128436"/>
            <a:ext cx="5024210" cy="0"/>
          </a:xfrm>
          <a:prstGeom prst="line">
            <a:avLst/>
          </a:prstGeom>
          <a:ln>
            <a:solidFill>
              <a:srgbClr val="2025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F70ABCF-87D4-7B42-8693-5754EF3515B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8036" y="1678225"/>
            <a:ext cx="5302676" cy="423694"/>
          </a:xfrm>
        </p:spPr>
        <p:txBody>
          <a:bodyPr>
            <a:noAutofit/>
          </a:bodyPr>
          <a:lstStyle>
            <a:lvl1pPr>
              <a:defRPr b="1"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F057C33-7EC2-E646-9C66-E07D23F00A7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21289" y="2258296"/>
            <a:ext cx="5053294" cy="3712986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06DFD7A-B573-0740-B61E-13AC31B72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21289" y="1678225"/>
            <a:ext cx="5053294" cy="423694"/>
          </a:xfrm>
        </p:spPr>
        <p:txBody>
          <a:bodyPr>
            <a:noAutofit/>
          </a:bodyPr>
          <a:lstStyle>
            <a:lvl1pPr>
              <a:defRPr b="1"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pic>
        <p:nvPicPr>
          <p:cNvPr id="14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22933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685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6635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12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429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515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2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33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6587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641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227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92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969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9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11C99FA7-4404-4711-BF5E-8019B6CBA2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3838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6F7378"/>
            </a:gs>
            <a:gs pos="100000">
              <a:srgbClr val="252525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874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703641"/>
            <a:ext cx="2819400" cy="15103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320272" y="65574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5925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879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992BECB-70AD-427B-8B66-BD03C1AFC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811" y="622800"/>
            <a:ext cx="11134378" cy="886494"/>
          </a:xfrm>
        </p:spPr>
        <p:txBody>
          <a:bodyPr vert="horz" lIns="0" tIns="45720" rIns="0" bIns="45720" anchor="t">
            <a:normAutofit/>
          </a:bodyPr>
          <a:lstStyle>
            <a:lvl1pPr>
              <a:defRPr sz="25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E9B11E4-5487-4B19-A792-195505EE06D5}"/>
              </a:ext>
            </a:extLst>
          </p:cNvPr>
          <p:cNvSpPr/>
          <p:nvPr userDrawn="1"/>
        </p:nvSpPr>
        <p:spPr>
          <a:xfrm>
            <a:off x="4101232" y="79686"/>
            <a:ext cx="3989535" cy="143328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>
            <a:spAutoFit/>
          </a:bodyPr>
          <a:lstStyle/>
          <a:p>
            <a:pPr algn="ctr"/>
            <a:r>
              <a:rPr lang="en-US" sz="900" i="1" dirty="0">
                <a:solidFill>
                  <a:srgbClr val="FF0000"/>
                </a:solidFill>
              </a:rPr>
              <a:t>-- Preliminary &amp; for planning purposes only; no decisions have been made --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9" t="11266" r="3372" b="1084"/>
          <a:stretch/>
        </p:blipFill>
        <p:spPr>
          <a:xfrm>
            <a:off x="528811" y="6514354"/>
            <a:ext cx="353672" cy="13171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0E127D-C332-4301-BB3A-3DF6652A1A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9" t="12223" r="86891" b="65017"/>
          <a:stretch/>
        </p:blipFill>
        <p:spPr>
          <a:xfrm>
            <a:off x="512144" y="6292709"/>
            <a:ext cx="983847" cy="144298"/>
          </a:xfrm>
          <a:custGeom>
            <a:avLst/>
            <a:gdLst>
              <a:gd name="connsiteX0" fmla="*/ 0 w 983847"/>
              <a:gd name="connsiteY0" fmla="*/ 0 h 144298"/>
              <a:gd name="connsiteX1" fmla="*/ 983847 w 983847"/>
              <a:gd name="connsiteY1" fmla="*/ 0 h 144298"/>
              <a:gd name="connsiteX2" fmla="*/ 983847 w 983847"/>
              <a:gd name="connsiteY2" fmla="*/ 144298 h 144298"/>
              <a:gd name="connsiteX3" fmla="*/ 0 w 983847"/>
              <a:gd name="connsiteY3" fmla="*/ 144298 h 144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3847" h="144298">
                <a:moveTo>
                  <a:pt x="0" y="0"/>
                </a:moveTo>
                <a:lnTo>
                  <a:pt x="983847" y="0"/>
                </a:lnTo>
                <a:lnTo>
                  <a:pt x="983847" y="144298"/>
                </a:lnTo>
                <a:lnTo>
                  <a:pt x="0" y="14429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5131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03F0E-DA2A-1742-A301-7AB3F8CBE4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2785" y="1122363"/>
            <a:ext cx="9829800" cy="2387600"/>
          </a:xfrm>
        </p:spPr>
        <p:txBody>
          <a:bodyPr anchor="b">
            <a:no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BC5995-AE11-CD43-8338-242FA473F5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2785" y="3602038"/>
            <a:ext cx="9829800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25B790-8652-4A57-A528-1E409FE915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65" y="561721"/>
            <a:ext cx="468567" cy="4685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144227-C046-0F4D-AEE5-B654FE83A1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65" y="6295090"/>
            <a:ext cx="983847" cy="14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7353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tart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13690A-FDDD-4B85-8BD2-506D52CFA4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563734"/>
            <a:ext cx="12192000" cy="863659"/>
          </a:xfrm>
        </p:spPr>
        <p:txBody>
          <a:bodyPr anchor="b">
            <a:noAutofit/>
          </a:bodyPr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2B9A5F1-4DE7-E94A-8694-015E945A93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36068" y="3547005"/>
            <a:ext cx="6519862" cy="65246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optional subhe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FC26EF-3E7D-4643-B0B5-7B6CD8A786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65" y="6295090"/>
            <a:ext cx="983847" cy="14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246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45098" y="1060337"/>
            <a:ext cx="5660445" cy="4947291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9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5F9DA2CB-FD74-4213-87C3-6AACD6579F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03579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py Slide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0591" y="2033828"/>
            <a:ext cx="8030817" cy="2666693"/>
          </a:xfrm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op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6405CD-BC68-6949-81C9-CBA36F0BAD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65" y="6295090"/>
            <a:ext cx="983847" cy="14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79105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7909C49-70DB-4531-B283-FAF262938E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F4C467CC-2DCD-034B-AC61-8E172B02B86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791200" y="579438"/>
            <a:ext cx="5883275" cy="5808662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01912559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Only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606E0-870A-E444-87C2-54AA4481F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5745" y="1685665"/>
            <a:ext cx="10758055" cy="4351338"/>
          </a:xfrm>
        </p:spPr>
        <p:txBody>
          <a:bodyPr>
            <a:noAutofit/>
          </a:bodyPr>
          <a:lstStyle>
            <a:lvl1pPr marL="285750" indent="-285750">
              <a:buFont typeface="System Font Regular"/>
              <a:buChar char="—"/>
              <a:defRPr/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A163C9-BB03-124A-AA91-B533C25C27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8BFDF9-2304-7249-8C8B-DF2076603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878320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B3F867-F950-1F4D-A0DC-4FF0ADB10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60765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606E0-870A-E444-87C2-54AA4481F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5745" y="2258296"/>
            <a:ext cx="3325091" cy="3712986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A163C9-BB03-124A-AA91-B533C25C27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8BFDF9-2304-7249-8C8B-DF2076603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878320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B3F867-F950-1F4D-A0DC-4FF0ADB10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57111C8-4AED-3A4C-A55F-1800386F4A36}"/>
              </a:ext>
            </a:extLst>
          </p:cNvPr>
          <p:cNvCxnSpPr>
            <a:cxnSpLocks/>
          </p:cNvCxnSpPr>
          <p:nvPr userDrawn="1"/>
        </p:nvCxnSpPr>
        <p:spPr>
          <a:xfrm>
            <a:off x="595745" y="2128436"/>
            <a:ext cx="33250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14041C-4BA9-7149-BFDE-7C66CA87557C}"/>
              </a:ext>
            </a:extLst>
          </p:cNvPr>
          <p:cNvCxnSpPr>
            <a:cxnSpLocks/>
          </p:cNvCxnSpPr>
          <p:nvPr userDrawn="1"/>
        </p:nvCxnSpPr>
        <p:spPr>
          <a:xfrm>
            <a:off x="4308764" y="2128436"/>
            <a:ext cx="33250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91838-83AE-5D45-BAD3-E0436E8559C2}"/>
              </a:ext>
            </a:extLst>
          </p:cNvPr>
          <p:cNvCxnSpPr>
            <a:cxnSpLocks/>
          </p:cNvCxnSpPr>
          <p:nvPr userDrawn="1"/>
        </p:nvCxnSpPr>
        <p:spPr>
          <a:xfrm>
            <a:off x="8021781" y="2128436"/>
            <a:ext cx="33250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F70ABCF-87D4-7B42-8693-5754EF3515B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8037" y="1678225"/>
            <a:ext cx="3352800" cy="423694"/>
          </a:xfrm>
        </p:spPr>
        <p:txBody>
          <a:bodyPr>
            <a:noAutofit/>
          </a:bodyPr>
          <a:lstStyle>
            <a:lvl1pPr>
              <a:defRPr b="1"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7311CF-F389-DC4D-A44D-D6CA3947FDF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36473" y="2258296"/>
            <a:ext cx="3325091" cy="3712986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7F329A7-3502-9E4B-8E61-821F6B6E5422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8765" y="1678225"/>
            <a:ext cx="3352800" cy="423694"/>
          </a:xfrm>
        </p:spPr>
        <p:txBody>
          <a:bodyPr>
            <a:noAutofit/>
          </a:bodyPr>
          <a:lstStyle>
            <a:lvl1pPr>
              <a:defRPr b="1"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F057C33-7EC2-E646-9C66-E07D23F00A7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049491" y="2258296"/>
            <a:ext cx="3325091" cy="3712986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06DFD7A-B573-0740-B61E-13AC31B72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021783" y="1678225"/>
            <a:ext cx="3352800" cy="423694"/>
          </a:xfrm>
        </p:spPr>
        <p:txBody>
          <a:bodyPr>
            <a:noAutofit/>
          </a:bodyPr>
          <a:lstStyle>
            <a:lvl1pPr>
              <a:defRPr b="1"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5108484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606E0-870A-E444-87C2-54AA4481F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5745" y="2258296"/>
            <a:ext cx="5274968" cy="3712986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AA163C9-BB03-124A-AA91-B533C25C27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8BFDF9-2304-7249-8C8B-DF2076603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6096000" cy="878320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B3F867-F950-1F4D-A0DC-4FF0ADB10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57111C8-4AED-3A4C-A55F-1800386F4A36}"/>
              </a:ext>
            </a:extLst>
          </p:cNvPr>
          <p:cNvCxnSpPr>
            <a:cxnSpLocks/>
          </p:cNvCxnSpPr>
          <p:nvPr userDrawn="1"/>
        </p:nvCxnSpPr>
        <p:spPr>
          <a:xfrm>
            <a:off x="595745" y="2128436"/>
            <a:ext cx="52736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91838-83AE-5D45-BAD3-E0436E8559C2}"/>
              </a:ext>
            </a:extLst>
          </p:cNvPr>
          <p:cNvCxnSpPr>
            <a:cxnSpLocks/>
          </p:cNvCxnSpPr>
          <p:nvPr userDrawn="1"/>
        </p:nvCxnSpPr>
        <p:spPr>
          <a:xfrm>
            <a:off x="6322662" y="2128436"/>
            <a:ext cx="50242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F70ABCF-87D4-7B42-8693-5754EF3515B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8036" y="1678225"/>
            <a:ext cx="5302676" cy="423694"/>
          </a:xfrm>
        </p:spPr>
        <p:txBody>
          <a:bodyPr>
            <a:noAutofit/>
          </a:bodyPr>
          <a:lstStyle>
            <a:lvl1pPr>
              <a:defRPr b="1"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F057C33-7EC2-E646-9C66-E07D23F00A7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21289" y="2258296"/>
            <a:ext cx="5053294" cy="3712986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06DFD7A-B573-0740-B61E-13AC31B72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21289" y="1678225"/>
            <a:ext cx="5053294" cy="423694"/>
          </a:xfrm>
        </p:spPr>
        <p:txBody>
          <a:bodyPr>
            <a:noAutofit/>
          </a:bodyPr>
          <a:lstStyle>
            <a:lvl1pPr>
              <a:defRPr b="1"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1982698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45098" y="1060337"/>
            <a:ext cx="5660445" cy="494729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7909C49-70DB-4531-B283-FAF262938E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32504175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, color background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45098" y="1060337"/>
            <a:ext cx="5660445" cy="494729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CA6564-5672-5541-B70B-4A86EF98CA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65" y="6295090"/>
            <a:ext cx="983847" cy="14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44803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2174" y="6415"/>
            <a:ext cx="6559826" cy="684517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/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7" name="Picture 49" descr="Herman Miller and Knoll Announce New Name for Combined Company: MillerKnoll">
            <a:extLst>
              <a:ext uri="{FF2B5EF4-FFF2-40B4-BE49-F238E27FC236}">
                <a16:creationId xmlns:a16="http://schemas.microsoft.com/office/drawing/2014/main" id="{AFFF7B4C-550B-4D0F-BECF-5793652123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1" y="6157364"/>
            <a:ext cx="802105" cy="42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4156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Image, color background 2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5616F70-FBD1-46BE-9696-63B188674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2174" y="0"/>
            <a:ext cx="6559826" cy="685799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796CED-9983-2740-9B10-09C81EEADC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6952" y="1069237"/>
            <a:ext cx="4689191" cy="98094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0" indent="0" algn="l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DF6A6F9-4586-E240-B3B8-876ACE11B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headline</a:t>
            </a:r>
          </a:p>
        </p:txBody>
      </p:sp>
      <p:pic>
        <p:nvPicPr>
          <p:cNvPr id="7" name="Picture 47" descr="Herman Miller completes acquisition of Knoll, unveils new name - The  Morning Call">
            <a:extLst>
              <a:ext uri="{FF2B5EF4-FFF2-40B4-BE49-F238E27FC236}">
                <a16:creationId xmlns:a16="http://schemas.microsoft.com/office/drawing/2014/main" id="{98516856-9B62-4E5B-B6B4-87741B6779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5" y="6093567"/>
            <a:ext cx="971615" cy="54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83723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79B935F-FE01-364A-B366-DFBF717119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80669" y="903288"/>
            <a:ext cx="6424612" cy="482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7909C49-70DB-4531-B283-FAF262938E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601"/>
            <a:ext cx="12192000" cy="633984"/>
          </a:xfrm>
          <a:prstGeom prst="rect">
            <a:avLst/>
          </a:prstGeom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43080EC-9B5C-7F43-8C6C-80F87E6BD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366"/>
            <a:ext cx="4488055" cy="358775"/>
          </a:xfrm>
        </p:spPr>
        <p:txBody>
          <a:bodyPr>
            <a:noAutofit/>
          </a:bodyPr>
          <a:lstStyle>
            <a:lvl1pPr marL="548640">
              <a:defRPr sz="1000" b="1"/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5DBD326-5D90-614A-B568-E282E56575D6}"/>
              </a:ext>
            </a:extLst>
          </p:cNvPr>
          <p:cNvGrpSpPr/>
          <p:nvPr userDrawn="1"/>
        </p:nvGrpSpPr>
        <p:grpSpPr>
          <a:xfrm>
            <a:off x="8695805" y="1340629"/>
            <a:ext cx="268921" cy="268921"/>
            <a:chOff x="8695805" y="1340629"/>
            <a:chExt cx="268921" cy="268921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AFD7A32-F053-6D4B-8C80-BB7B6C001C0B}"/>
                </a:ext>
              </a:extLst>
            </p:cNvPr>
            <p:cNvSpPr/>
            <p:nvPr userDrawn="1"/>
          </p:nvSpPr>
          <p:spPr>
            <a:xfrm>
              <a:off x="8695805" y="134062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4FA1D64-DD87-914C-AF35-79E9E62DC699}"/>
                </a:ext>
              </a:extLst>
            </p:cNvPr>
            <p:cNvSpPr txBox="1"/>
            <p:nvPr userDrawn="1"/>
          </p:nvSpPr>
          <p:spPr>
            <a:xfrm>
              <a:off x="8695805" y="134062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1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2B69109-BD7D-9944-ACCC-DCE3483060BF}"/>
              </a:ext>
            </a:extLst>
          </p:cNvPr>
          <p:cNvGrpSpPr/>
          <p:nvPr userDrawn="1"/>
        </p:nvGrpSpPr>
        <p:grpSpPr>
          <a:xfrm>
            <a:off x="8695805" y="1767349"/>
            <a:ext cx="268921" cy="268921"/>
            <a:chOff x="8695805" y="1767349"/>
            <a:chExt cx="268921" cy="268921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AA3D762-394B-A24A-8D76-94D3D5D87D45}"/>
                </a:ext>
              </a:extLst>
            </p:cNvPr>
            <p:cNvSpPr/>
            <p:nvPr userDrawn="1"/>
          </p:nvSpPr>
          <p:spPr>
            <a:xfrm>
              <a:off x="8695805" y="176734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D7E3DB6-6376-9144-AA0B-245959637855}"/>
                </a:ext>
              </a:extLst>
            </p:cNvPr>
            <p:cNvSpPr txBox="1"/>
            <p:nvPr userDrawn="1"/>
          </p:nvSpPr>
          <p:spPr>
            <a:xfrm>
              <a:off x="8695805" y="176734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2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78B0BDC-1C8B-C94E-8B3E-57CFFE19BF5F}"/>
              </a:ext>
            </a:extLst>
          </p:cNvPr>
          <p:cNvGrpSpPr/>
          <p:nvPr userDrawn="1"/>
        </p:nvGrpSpPr>
        <p:grpSpPr>
          <a:xfrm>
            <a:off x="8695805" y="2201689"/>
            <a:ext cx="268921" cy="268921"/>
            <a:chOff x="8695805" y="2201689"/>
            <a:chExt cx="268921" cy="268921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5B312B3-FB9A-354B-86C1-E4531EB5A8B1}"/>
                </a:ext>
              </a:extLst>
            </p:cNvPr>
            <p:cNvSpPr/>
            <p:nvPr userDrawn="1"/>
          </p:nvSpPr>
          <p:spPr>
            <a:xfrm>
              <a:off x="8695805" y="220168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733272F-B3F8-4B4B-B8A6-F0136DEEFF6E}"/>
                </a:ext>
              </a:extLst>
            </p:cNvPr>
            <p:cNvSpPr txBox="1"/>
            <p:nvPr userDrawn="1"/>
          </p:nvSpPr>
          <p:spPr>
            <a:xfrm>
              <a:off x="8695805" y="220168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3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9E74B17-97A2-8749-939F-992BFAEF570A}"/>
              </a:ext>
            </a:extLst>
          </p:cNvPr>
          <p:cNvGrpSpPr/>
          <p:nvPr userDrawn="1"/>
        </p:nvGrpSpPr>
        <p:grpSpPr>
          <a:xfrm>
            <a:off x="8695805" y="2628409"/>
            <a:ext cx="268921" cy="268921"/>
            <a:chOff x="8695805" y="2628409"/>
            <a:chExt cx="268921" cy="268921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A681509-4540-8547-B604-208E311FD75E}"/>
                </a:ext>
              </a:extLst>
            </p:cNvPr>
            <p:cNvSpPr/>
            <p:nvPr userDrawn="1"/>
          </p:nvSpPr>
          <p:spPr>
            <a:xfrm>
              <a:off x="8695805" y="262840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32A4CFF-CDC5-434A-BDE5-599293E5C2C5}"/>
                </a:ext>
              </a:extLst>
            </p:cNvPr>
            <p:cNvSpPr txBox="1"/>
            <p:nvPr userDrawn="1"/>
          </p:nvSpPr>
          <p:spPr>
            <a:xfrm>
              <a:off x="8695805" y="262840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4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3147422-0AFB-254E-99CC-C527FDA6239F}"/>
              </a:ext>
            </a:extLst>
          </p:cNvPr>
          <p:cNvGrpSpPr/>
          <p:nvPr userDrawn="1"/>
        </p:nvGrpSpPr>
        <p:grpSpPr>
          <a:xfrm>
            <a:off x="8695805" y="3062749"/>
            <a:ext cx="268921" cy="268921"/>
            <a:chOff x="8695805" y="3062749"/>
            <a:chExt cx="268921" cy="268921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1F43F44-CDA4-C44C-B6C9-BB45AB96323C}"/>
                </a:ext>
              </a:extLst>
            </p:cNvPr>
            <p:cNvSpPr/>
            <p:nvPr userDrawn="1"/>
          </p:nvSpPr>
          <p:spPr>
            <a:xfrm>
              <a:off x="8695805" y="3062749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6947140-B5C3-B944-907D-7A1AFFAC4EC8}"/>
                </a:ext>
              </a:extLst>
            </p:cNvPr>
            <p:cNvSpPr txBox="1"/>
            <p:nvPr userDrawn="1"/>
          </p:nvSpPr>
          <p:spPr>
            <a:xfrm>
              <a:off x="8695805" y="3062749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5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8137C13-0F5E-2A40-A294-5DB9A529812A}"/>
              </a:ext>
            </a:extLst>
          </p:cNvPr>
          <p:cNvGrpSpPr/>
          <p:nvPr userDrawn="1"/>
        </p:nvGrpSpPr>
        <p:grpSpPr>
          <a:xfrm>
            <a:off x="8695805" y="3480920"/>
            <a:ext cx="268921" cy="268921"/>
            <a:chOff x="8695805" y="3480920"/>
            <a:chExt cx="268921" cy="268921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9FA62F5-FFBE-4244-A4B9-9CED2FD069DA}"/>
                </a:ext>
              </a:extLst>
            </p:cNvPr>
            <p:cNvSpPr/>
            <p:nvPr userDrawn="1"/>
          </p:nvSpPr>
          <p:spPr>
            <a:xfrm>
              <a:off x="8695805" y="3480920"/>
              <a:ext cx="268921" cy="268921"/>
            </a:xfrm>
            <a:prstGeom prst="ellipse">
              <a:avLst/>
            </a:prstGeom>
            <a:solidFill>
              <a:srgbClr val="E32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8C17BD9-39F9-BB4B-A704-9A7DFA9A3B34}"/>
                </a:ext>
              </a:extLst>
            </p:cNvPr>
            <p:cNvSpPr txBox="1"/>
            <p:nvPr userDrawn="1"/>
          </p:nvSpPr>
          <p:spPr>
            <a:xfrm>
              <a:off x="8695805" y="3480920"/>
              <a:ext cx="268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6</a:t>
              </a: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1F8DC62E-06CF-1342-89F7-CBAE8B5D57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80090"/>
            <a:ext cx="5236143" cy="480247"/>
          </a:xfrm>
        </p:spPr>
        <p:txBody>
          <a:bodyPr anchor="t">
            <a:noAutofit/>
          </a:bodyPr>
          <a:lstStyle>
            <a:lvl1pPr marL="548640">
              <a:spcAft>
                <a:spcPts val="0"/>
              </a:spcAft>
              <a:defRPr b="1"/>
            </a:lvl1pPr>
          </a:lstStyle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3313842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tags" Target="../tags/tag2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3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theme" Target="../theme/theme1.xml"/><Relationship Id="rId9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89"/>
            </p:custDataLst>
            <p:extLst>
              <p:ext uri="{D42A27DB-BD31-4B8C-83A1-F6EECF244321}">
                <p14:modId xmlns:p14="http://schemas.microsoft.com/office/powerpoint/2010/main" val="110443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1" imgW="286" imgH="286" progId="TCLayout.ActiveDocument.1">
                  <p:embed/>
                </p:oleObj>
              </mc:Choice>
              <mc:Fallback>
                <p:oleObj name="think-cell Slide" r:id="rId91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FFC0A5-85BC-FB40-89A4-2DCDA698E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810" y="622800"/>
            <a:ext cx="10824988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C3DE2E-2413-174C-9C6B-CAC8764286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8810" y="1825625"/>
            <a:ext cx="10824988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72800" y="6405036"/>
            <a:ext cx="381000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08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  <p:sldLayoutId id="2147485253" r:id="rId68"/>
    <p:sldLayoutId id="2147485254" r:id="rId69"/>
    <p:sldLayoutId id="2147485255" r:id="rId70"/>
    <p:sldLayoutId id="2147485256" r:id="rId71"/>
    <p:sldLayoutId id="2147485257" r:id="rId72"/>
    <p:sldLayoutId id="2147485258" r:id="rId73"/>
    <p:sldLayoutId id="2147485259" r:id="rId74"/>
    <p:sldLayoutId id="2147485260" r:id="rId75"/>
    <p:sldLayoutId id="2147485261" r:id="rId76"/>
    <p:sldLayoutId id="2147485262" r:id="rId77"/>
    <p:sldLayoutId id="2147485263" r:id="rId78"/>
    <p:sldLayoutId id="2147485264" r:id="rId79"/>
    <p:sldLayoutId id="2147485265" r:id="rId80"/>
    <p:sldLayoutId id="2147485266" r:id="rId81"/>
    <p:sldLayoutId id="2147485267" r:id="rId82"/>
    <p:sldLayoutId id="2147485268" r:id="rId83"/>
    <p:sldLayoutId id="2147485269" r:id="rId84"/>
    <p:sldLayoutId id="2147485270" r:id="rId85"/>
    <p:sldLayoutId id="2147485271" r:id="rId86"/>
    <p:sldLayoutId id="2147485272" r:id="rId8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None/>
        <a:defRPr sz="2500" b="1" kern="1200" spc="-50" baseline="0">
          <a:solidFill>
            <a:srgbClr val="231F2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ts val="2520"/>
        </a:lnSpc>
        <a:spcBef>
          <a:spcPts val="1000"/>
        </a:spcBef>
        <a:buClr>
          <a:srgbClr val="231F20"/>
        </a:buClr>
        <a:buFont typeface="Arial" panose="020B0604020202020204" pitchFamily="34" charset="0"/>
        <a:buNone/>
        <a:defRPr sz="1200" kern="1200" baseline="0">
          <a:solidFill>
            <a:srgbClr val="231F20"/>
          </a:solidFill>
          <a:latin typeface="+mn-lt"/>
          <a:ea typeface="+mn-ea"/>
          <a:cs typeface="+mn-cs"/>
          <a:sym typeface="+mn-lt"/>
        </a:defRPr>
      </a:lvl1pPr>
      <a:lvl2pPr marL="283464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31F20"/>
        </a:buClr>
        <a:buFont typeface="Arial" panose="020B0604020202020204" pitchFamily="34" charset="0"/>
        <a:buChar char="•"/>
        <a:defRPr sz="1200" kern="1200">
          <a:solidFill>
            <a:srgbClr val="231F20"/>
          </a:solidFill>
          <a:latin typeface="+mn-lt"/>
          <a:ea typeface="+mn-ea"/>
          <a:cs typeface="+mn-cs"/>
          <a:sym typeface="+mn-lt"/>
        </a:defRPr>
      </a:lvl2pPr>
      <a:lvl3pPr marL="804672" indent="-230188" algn="l" defTabSz="914400" rtl="0" eaLnBrk="1" latinLnBrk="0" hangingPunct="1">
        <a:lnSpc>
          <a:spcPct val="90000"/>
        </a:lnSpc>
        <a:spcBef>
          <a:spcPts val="500"/>
        </a:spcBef>
        <a:buClr>
          <a:srgbClr val="231F20"/>
        </a:buClr>
        <a:buFont typeface="Arial" panose="020B0604020202020204" pitchFamily="34" charset="0"/>
        <a:buChar char="‒"/>
        <a:defRPr sz="1200" kern="1200">
          <a:solidFill>
            <a:srgbClr val="231F20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Clr>
          <a:srgbClr val="231F20"/>
        </a:buClr>
        <a:buFontTx/>
        <a:buNone/>
        <a:defRPr sz="1600" b="1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Clr>
          <a:srgbClr val="231F20"/>
        </a:buClr>
        <a:buFontTx/>
        <a:buNone/>
        <a:defRPr sz="1600" b="1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FFC0A5-85BC-FB40-89A4-2DCDA698E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C3DE2E-2413-174C-9C6B-CAC8764286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748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4" r:id="rId1"/>
    <p:sldLayoutId id="2147485275" r:id="rId2"/>
    <p:sldLayoutId id="2147485276" r:id="rId3"/>
    <p:sldLayoutId id="2147485277" r:id="rId4"/>
    <p:sldLayoutId id="2147485278" r:id="rId5"/>
    <p:sldLayoutId id="2147485279" r:id="rId6"/>
    <p:sldLayoutId id="2147485280" r:id="rId7"/>
    <p:sldLayoutId id="2147485281" r:id="rId8"/>
    <p:sldLayoutId id="2147485282" r:id="rId9"/>
    <p:sldLayoutId id="2147485283" r:id="rId10"/>
    <p:sldLayoutId id="2147485284" r:id="rId11"/>
    <p:sldLayoutId id="2147485285" r:id="rId12"/>
    <p:sldLayoutId id="2147485286" r:id="rId13"/>
    <p:sldLayoutId id="2147485287" r:id="rId14"/>
    <p:sldLayoutId id="2147485288" r:id="rId15"/>
    <p:sldLayoutId id="2147485289" r:id="rId16"/>
    <p:sldLayoutId id="2147485290" r:id="rId17"/>
    <p:sldLayoutId id="2147485291" r:id="rId18"/>
    <p:sldLayoutId id="2147485292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None/>
        <a:defRPr sz="250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ts val="252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30188" indent="-2301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82575" indent="2301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03275" indent="-2301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B70437A1-D27B-4A1C-AEB7-C62AD21DFD7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t="91" b="2509"/>
          <a:stretch/>
        </p:blipFill>
        <p:spPr>
          <a:xfrm>
            <a:off x="5632174" y="6415"/>
            <a:ext cx="6559826" cy="684517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FD06BB7-28CB-8C4B-BE46-CEE5ECDEB3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164" y="1125109"/>
            <a:ext cx="5101598" cy="46077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 this role, Jennifer oversees manufacturing, supply chain operations, Warehouse &amp; Distribution, enterprise </a:t>
            </a:r>
            <a:r>
              <a:rPr lang="en-US" sz="1400" dirty="0" err="1"/>
              <a:t>intergrations</a:t>
            </a:r>
            <a:r>
              <a:rPr lang="en-US" sz="1400" dirty="0"/>
              <a:t> and Quality Globally. In addition, Jennifer is the operations liaison for Group Brand Businesses and sales growt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Jennifer has a background in product development, supply management, customer excellence, logistics and operations. Previous industries include automative, oil and appliances building collaborative relationships across the enterpris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estern Grad in Supply Chain &amp; MBA: International Busin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mplete H.A.L.I and MSU Women in Leadershi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Inforum</a:t>
            </a:r>
            <a:r>
              <a:rPr lang="en-US" sz="1400" dirty="0"/>
              <a:t> Co-Chair Board Member</a:t>
            </a:r>
          </a:p>
          <a:p>
            <a:endParaRPr lang="en-US" sz="14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0004148-0A36-384E-A13D-ADAABBA51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3040" y="173690"/>
            <a:ext cx="5689600" cy="480247"/>
          </a:xfrm>
        </p:spPr>
        <p:txBody>
          <a:bodyPr/>
          <a:lstStyle/>
          <a:p>
            <a:r>
              <a:rPr lang="en-US" dirty="0"/>
              <a:t>Jennifer Gibson</a:t>
            </a:r>
            <a:br>
              <a:rPr lang="en-US" dirty="0"/>
            </a:br>
            <a:r>
              <a:rPr lang="en-US" sz="1800" dirty="0"/>
              <a:t>Sr VP of Global Planning, Logistics &amp;Quality</a:t>
            </a:r>
          </a:p>
        </p:txBody>
      </p:sp>
    </p:spTree>
    <p:extLst>
      <p:ext uri="{BB962C8B-B14F-4D97-AF65-F5344CB8AC3E}">
        <p14:creationId xmlns:p14="http://schemas.microsoft.com/office/powerpoint/2010/main" val="3890085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NAME" val="Herman Miller Grid 16:9"/>
  <p:tag name="EE4P_STYLE_ID" val="PNY6JeYP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Arial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#c8c8c8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#c8c8c8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#c8c8c8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#c8c8c8&quot; /&gt;&lt;/element&gt;&lt;element field=&quot;pageno&quot; type=&quot;autoshape&quot; autoShapeType=&quot;1&quot;&gt;&lt;paragraphformat alignment=&quot;3&quot; /&gt;&lt;font color=&quot;#c8c8c8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#c8c8c8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#c8c8c8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#c8c8c8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#c8c8c8&quot; relativeSize=&quot;0.75&quot; /&gt;&lt;/element&gt;&lt;element field=&quot;pageno&quot; type=&quot;autoshape&quot; autoShapeType=&quot;1&quot;&gt;&lt;paragraphformat alignment=&quot;3&quot; /&gt;&lt;font color=&quot;#c8c8c8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&quot; title=&quot;Contents&quot; subtitle=&quot;&quot; sizingModeId=&quot;1&quot; fontSize=&quot;24&quot; fontSizeAuto=&quot;1&quot; startTime=&quot;540&quot; timeFormatId=&quot;1&quot; startItemNo=&quot;1&quot; createSingleAgendaSlide=&quot;0&quot; createSeparatingSlides=&quot;1&quot; createBackupSlide=&quot;0&quot; layoutId=&quot;227_1-4&quot; hideSeparatingSlides=&quot;0&quot; createSections=&quot;1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299.1865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e197812a-e55b-49ed-8e4a-22f379b80266&quot; parentId=&quot;&quot; level=&quot;1&quot; generateAgendaSlide=&quot;1&quot; showAgendaItem=&quot;1&quot; isBreak=&quot;0&quot; topic=&quot;LT+1 Huddle&quot; agendaSlideId=&quot;a3fe37c0-0bcf-4fb9-91fe-aa5a1bdd314d&quot; sectionId=&quot;{FA42A9D7-0322-44CE-996F-8AD7AC49EEC5}&quot; /&gt;&lt;item duration=&quot;30&quot; id=&quot;e5d64e2e-020a-42ce-9ee7-21fd8bf3926a&quot; parentId=&quot;&quot; level=&quot;1&quot; generateAgendaSlide=&quot;1&quot; showAgendaItem=&quot;1&quot; isBreak=&quot;0&quot; topic=&quot;Function Town Hall&quot; agendaSlideId=&quot;9c3f1cca-6a6e-400a-bd1f-4bf46b428a37&quot; sectionId=&quot;{27235A50-C162-4B59-A9D0-D5A27A821591}&quot; /&gt;&lt;item duration=&quot;30&quot; id=&quot;1e2ecc2a-acb7-4a50-b68c-f0fb1176ce49&quot; parentId=&quot;&quot; level=&quot;1&quot; generateAgendaSlide=&quot;0&quot; showAgendaItem=&quot;0&quot; isBreak=&quot;0&quot; topic=&quot;Appendix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HQ8kjNAK1DinkltK3J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1oy.t11Zkjk09Qahz3f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_19HAo9W0MzjdrB2Ji1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x.zWK12_he4PWaY11r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.GIwamzLN1OVdPXfq0Q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KeSfjloUKErOUGDsXs8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SptkIU0GLQ291WtqeuO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QClFCrIexXewu7.wvP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w.khK4ImYmbdHlJGn4C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gpsFbxCiz8GXFjs_t6W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0uaaHhTywzonlx7yxvM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FCZ9ON2XgG2UUzX6QKI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P22azCb6k6ib3euSWl.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ftA20A8P2VAEivtWhtX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Cas75s4l9fC3BwaSrPv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3dXZ5IufCEyLRvrmhM4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lBDWH7oC6u_S4Noyeo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myF_bAu8ovz0EXFYMu8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xMldWg7c6_OvbTvjjsB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zQuaBF2Qcn0uLbLBNH_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WKIqwcSdTJiadv1VWk5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swYcAx1v6hQ5nkNLH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1uqpfUm5e_ETGYGjGQ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kPmrQ2SRh0WGPsh5W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j2t0QNlNFETZCwgGZd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SopfWKUUxAzMWjTwxE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8GHgf8LHW1GgKA9LQ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B5Qr8JRhd77zDqfQJz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ZRd4OE1.arlEo2KKXW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m5Rcz8.Zpcgh6ablUj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xC3Oc8Oki1vTEMcsgb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1SCcEdm4_LZxOY0mY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tN6lhNmo1jAB0ybg9M_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N5waenTL8J1RkykEo3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cf6G0MSyQUMVXffNTE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IzpwRlBudt5CkpZcA8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lY4BtdUcC82pCn1F55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hfXlB6crtMY5CT_7ki8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psilK5VFu79bjh6ULg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8eW_DLvgJrVMeXD0VK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uNMADr3zoUQymmYxvk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zM3rPvBE2IFLCODuyE.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kqnoTde9mOj8wtX8W9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FjoD3O5sjMwgdqsTKNM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DIdGUKCKuAfIxXoCuj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_PPoprR6YyJKA03Bxv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kwYLKKrzA9EbSx4AgJ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sZdHy13Hz.IKOlFWb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3.dz.4COnExxLwhU6CN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kHoQnlE7Wa4b_KqPxyH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sbO._OGIkMj2J_U82H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VKzWS8RFA_ZZEsIgMUM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9yJmHZsfYHU7NR1Yqt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X68Q3DdA6oBbxekL6Vk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cZs3hfYZ4CMmWNbyxA1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DpJ0zcZlwQq_lzJknXU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6PGnm4PMFCHjcRWEBt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XM3RCjTN58yV56mlW0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yiokMT.hPOJ9ZQ_V_2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swYcAx1v6hQ5nkNLHeo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hdxMYKqp2SBPrWOHrsx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zBLrQTu.WqWmw5bQUo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m.PdwEGFrYbMQlUXO6p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llerKnoll Grid 16:9 - 13334">
  <a:themeElements>
    <a:clrScheme name="1 HERMAN CLIENT">
      <a:dk1>
        <a:srgbClr val="231F20"/>
      </a:dk1>
      <a:lt1>
        <a:srgbClr val="FFFFFF"/>
      </a:lt1>
      <a:dk2>
        <a:srgbClr val="3F4B65"/>
      </a:dk2>
      <a:lt2>
        <a:srgbClr val="E6E7E8"/>
      </a:lt2>
      <a:accent1>
        <a:srgbClr val="202532"/>
      </a:accent1>
      <a:accent2>
        <a:srgbClr val="4F596E"/>
      </a:accent2>
      <a:accent3>
        <a:srgbClr val="6D6F84"/>
      </a:accent3>
      <a:accent4>
        <a:srgbClr val="8E8E9F"/>
      </a:accent4>
      <a:accent5>
        <a:srgbClr val="B3B3BE"/>
      </a:accent5>
      <a:accent6>
        <a:srgbClr val="E0DFE3"/>
      </a:accent6>
      <a:hlink>
        <a:srgbClr val="E22D00"/>
      </a:hlink>
      <a:folHlink>
        <a:srgbClr val="231F2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52525"/>
        </a:solidFill>
        <a:ln>
          <a:solidFill>
            <a:srgbClr val="252525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A9A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MI_Presentation_Template" id="{CB46FDAA-79E2-4245-9535-606ED40FCB34}" vid="{40698AD4-367A-4E44-BD2D-5E1309F267E5}"/>
    </a:ext>
  </a:extLst>
</a:theme>
</file>

<file path=ppt/theme/theme2.xml><?xml version="1.0" encoding="utf-8"?>
<a:theme xmlns:a="http://schemas.openxmlformats.org/drawingml/2006/main" name="Office Theme">
  <a:themeElements>
    <a:clrScheme name="Sales Slides Theme 3 Blue">
      <a:dk1>
        <a:srgbClr val="231F20"/>
      </a:dk1>
      <a:lt1>
        <a:srgbClr val="FFFFFF"/>
      </a:lt1>
      <a:dk2>
        <a:srgbClr val="3F4B65"/>
      </a:dk2>
      <a:lt2>
        <a:srgbClr val="E6E7E8"/>
      </a:lt2>
      <a:accent1>
        <a:srgbClr val="202532"/>
      </a:accent1>
      <a:accent2>
        <a:srgbClr val="4F596E"/>
      </a:accent2>
      <a:accent3>
        <a:srgbClr val="6D6F84"/>
      </a:accent3>
      <a:accent4>
        <a:srgbClr val="8E8E9F"/>
      </a:accent4>
      <a:accent5>
        <a:srgbClr val="B3B3BE"/>
      </a:accent5>
      <a:accent6>
        <a:srgbClr val="E0DFE3"/>
      </a:accent6>
      <a:hlink>
        <a:srgbClr val="E22D00"/>
      </a:hlink>
      <a:folHlink>
        <a:srgbClr val="231F2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200" dirty="0">
            <a:solidFill>
              <a:srgbClr val="231F20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MI_Presentation_Template" id="{62497FA6-8537-BC40-930A-CE90F588175F}" vid="{56FD3BC7-C65A-E949-ABED-4AF96075444A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8</TotalTime>
  <Words>112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8" baseType="lpstr">
      <vt:lpstr>Arial</vt:lpstr>
      <vt:lpstr>System Font Regular</vt:lpstr>
      <vt:lpstr>Trebuchet MS</vt:lpstr>
      <vt:lpstr>MillerKnoll Grid 16:9 - 13334</vt:lpstr>
      <vt:lpstr>Office Theme</vt:lpstr>
      <vt:lpstr>think-cell Slide</vt:lpstr>
      <vt:lpstr>Jennifer Gibson Sr VP of Global Planning, Logistics &amp;Quality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Anna Grace</cp:lastModifiedBy>
  <cp:revision>521</cp:revision>
  <cp:lastPrinted>2000-01-01T04:00:00Z</cp:lastPrinted>
  <dcterms:created xsi:type="dcterms:W3CDTF">2021-07-29T21:40:48Z</dcterms:created>
  <dcterms:modified xsi:type="dcterms:W3CDTF">2026-01-14T16:3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